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tags/tag17.xml" ContentType="application/vnd.openxmlformats-officedocument.presentationml.tags+xml"/>
  <Override PartName="/ppt/notesSlides/notesSlide18.xml" ContentType="application/vnd.openxmlformats-officedocument.presentationml.notesSlide+xml"/>
  <Override PartName="/ppt/tags/tag18.xml" ContentType="application/vnd.openxmlformats-officedocument.presentationml.tags+xml"/>
  <Override PartName="/ppt/notesSlides/notesSlide19.xml" ContentType="application/vnd.openxmlformats-officedocument.presentationml.notesSlide+xml"/>
  <Override PartName="/ppt/tags/tag19.xml" ContentType="application/vnd.openxmlformats-officedocument.presentationml.tags+xml"/>
  <Override PartName="/ppt/notesSlides/notesSlide20.xml" ContentType="application/vnd.openxmlformats-officedocument.presentationml.notesSlide+xml"/>
  <Override PartName="/ppt/tags/tag20.xml" ContentType="application/vnd.openxmlformats-officedocument.presentationml.tags+xml"/>
  <Override PartName="/ppt/notesSlides/notesSlide21.xml" ContentType="application/vnd.openxmlformats-officedocument.presentationml.notesSlide+xml"/>
  <Override PartName="/ppt/tags/tag21.xml" ContentType="application/vnd.openxmlformats-officedocument.presentationml.tags+xml"/>
  <Override PartName="/ppt/notesSlides/notesSlide22.xml" ContentType="application/vnd.openxmlformats-officedocument.presentationml.notesSlide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4"/>
  </p:notesMasterIdLst>
  <p:sldIdLst>
    <p:sldId id="256" r:id="rId2"/>
    <p:sldId id="257" r:id="rId3"/>
    <p:sldId id="258" r:id="rId4"/>
    <p:sldId id="259" r:id="rId5"/>
    <p:sldId id="284" r:id="rId6"/>
    <p:sldId id="291" r:id="rId7"/>
    <p:sldId id="282" r:id="rId8"/>
    <p:sldId id="261" r:id="rId9"/>
    <p:sldId id="292" r:id="rId10"/>
    <p:sldId id="262" r:id="rId11"/>
    <p:sldId id="283" r:id="rId12"/>
    <p:sldId id="285" r:id="rId13"/>
    <p:sldId id="293" r:id="rId14"/>
    <p:sldId id="263" r:id="rId15"/>
    <p:sldId id="264" r:id="rId16"/>
    <p:sldId id="265" r:id="rId17"/>
    <p:sldId id="286" r:id="rId18"/>
    <p:sldId id="295" r:id="rId19"/>
    <p:sldId id="287" r:id="rId20"/>
    <p:sldId id="294" r:id="rId21"/>
    <p:sldId id="288" r:id="rId22"/>
    <p:sldId id="296" r:id="rId23"/>
    <p:sldId id="289" r:id="rId24"/>
    <p:sldId id="297" r:id="rId25"/>
    <p:sldId id="266" r:id="rId26"/>
    <p:sldId id="267" r:id="rId27"/>
    <p:sldId id="268" r:id="rId28"/>
    <p:sldId id="290" r:id="rId29"/>
    <p:sldId id="269" r:id="rId30"/>
    <p:sldId id="270" r:id="rId31"/>
    <p:sldId id="271" r:id="rId32"/>
    <p:sldId id="272" r:id="rId33"/>
    <p:sldId id="273" r:id="rId34"/>
    <p:sldId id="274" r:id="rId35"/>
    <p:sldId id="275" r:id="rId36"/>
    <p:sldId id="276" r:id="rId37"/>
    <p:sldId id="277" r:id="rId38"/>
    <p:sldId id="278" r:id="rId39"/>
    <p:sldId id="279" r:id="rId40"/>
    <p:sldId id="280" r:id="rId41"/>
    <p:sldId id="298" r:id="rId42"/>
    <p:sldId id="299" r:id="rId4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5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2931" autoAdjust="0"/>
  </p:normalViewPr>
  <p:slideViewPr>
    <p:cSldViewPr snapToGrid="0" showGuides="1">
      <p:cViewPr varScale="1">
        <p:scale>
          <a:sx n="51" d="100"/>
          <a:sy n="51" d="100"/>
        </p:scale>
        <p:origin x="1231" y="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25689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7878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3633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7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4.x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6.xml"/><Relationship Id="rId6" Type="http://schemas.openxmlformats.org/officeDocument/2006/relationships/image" Target="../media/image2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2.xml"/><Relationship Id="rId6" Type="http://schemas.openxmlformats.org/officeDocument/2006/relationships/image" Target="../media/image2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2.x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899775"/>
            <a:ext cx="9910902" cy="6445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3831015" y="1920211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stCxn id="5" idx="1"/>
          </p:cNvCxnSpPr>
          <p:nvPr/>
        </p:nvCxnSpPr>
        <p:spPr>
          <a:xfrm flipH="1">
            <a:off x="2226039" y="2144329"/>
            <a:ext cx="1604976" cy="516425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253" name="Google Shape;253;g344eaf56fbf_0_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626" y="740946"/>
            <a:ext cx="10388049" cy="59274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g36f76ef2d7d_0_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504573"/>
            <a:ext cx="12191999" cy="1539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g36f76ef2d7d_0_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-651625" y="3369849"/>
            <a:ext cx="13286651" cy="26379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094263"/>
            <a:ext cx="3798793" cy="472141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</a:t>
            </a:r>
            <a:r>
              <a:rPr lang="en-US" sz="1800" dirty="0" err="1">
                <a:solidFill>
                  <a:schemeClr val="bg1"/>
                </a:solidFill>
              </a:rPr>
              <a:t>objetcs</a:t>
            </a:r>
            <a:r>
              <a:rPr lang="en-US" sz="1800" dirty="0">
                <a:solidFill>
                  <a:schemeClr val="bg1"/>
                </a:solidFill>
              </a:rPr>
              <a:t>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330334"/>
            <a:ext cx="2112970" cy="892551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8396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</a:t>
            </a:r>
            <a:r>
              <a:rPr lang="en-US" sz="1800" dirty="0" err="1">
                <a:solidFill>
                  <a:schemeClr val="tx1"/>
                </a:solidFill>
              </a:rPr>
              <a:t>objetcs</a:t>
            </a:r>
            <a:r>
              <a:rPr lang="en-US" sz="1800" dirty="0">
                <a:solidFill>
                  <a:schemeClr val="tx1"/>
                </a:solidFill>
              </a:rPr>
              <a:t> with an user</a:t>
            </a:r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3757142" y="2375158"/>
            <a:ext cx="3318436" cy="40042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046157" y="2575370"/>
            <a:ext cx="1710985" cy="1412014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g36f56cd1dea_2_17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0154" r="30154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Google Drive functions and database design as follow</a:t>
            </a:r>
            <a:endParaRPr sz="260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Resolve Permission in Google Drive</a:t>
            </a:r>
            <a:endParaRPr sz="260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Fulltext Search with BM25</a:t>
            </a:r>
            <a:endParaRPr sz="260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/>
              <a:t>Q&amp;A</a:t>
            </a:r>
            <a:endParaRPr sz="260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404285" y="2861311"/>
            <a:ext cx="3383430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113613" y="3067499"/>
            <a:ext cx="2290672" cy="1167222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274" name="Google Shape;274;g344eaf56fbf_0_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000" y="1370875"/>
            <a:ext cx="5360433" cy="2588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344eaf56fbf_0_59"/>
          <p:cNvSpPr/>
          <p:nvPr/>
        </p:nvSpPr>
        <p:spPr>
          <a:xfrm>
            <a:off x="2809373" y="2372007"/>
            <a:ext cx="1451700" cy="3225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6" name="Google Shape;276;g344eaf56fbf_0_59"/>
          <p:cNvSpPr txBox="1"/>
          <p:nvPr/>
        </p:nvSpPr>
        <p:spPr>
          <a:xfrm>
            <a:off x="4719506" y="2439869"/>
            <a:ext cx="623700" cy="1869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Duration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77" name="Google Shape;277;g344eaf56fbf_0_59"/>
          <p:cNvCxnSpPr>
            <a:stCxn id="276" idx="1"/>
            <a:endCxn id="275" idx="3"/>
          </p:cNvCxnSpPr>
          <p:nvPr/>
        </p:nvCxnSpPr>
        <p:spPr>
          <a:xfrm rot="10800000">
            <a:off x="4261106" y="2533319"/>
            <a:ext cx="4584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78" name="Google Shape;278;g344eaf56fbf_0_59"/>
          <p:cNvSpPr/>
          <p:nvPr/>
        </p:nvSpPr>
        <p:spPr>
          <a:xfrm>
            <a:off x="4142222" y="2711586"/>
            <a:ext cx="1141800" cy="11970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9" name="Google Shape;279;g344eaf56fbf_0_59"/>
          <p:cNvSpPr txBox="1"/>
          <p:nvPr/>
        </p:nvSpPr>
        <p:spPr>
          <a:xfrm>
            <a:off x="5615149" y="3225201"/>
            <a:ext cx="573000" cy="1698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Product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80" name="Google Shape;280;g344eaf56fbf_0_59"/>
          <p:cNvCxnSpPr>
            <a:stCxn id="279" idx="1"/>
            <a:endCxn id="278" idx="3"/>
          </p:cNvCxnSpPr>
          <p:nvPr/>
        </p:nvCxnSpPr>
        <p:spPr>
          <a:xfrm rot="10800000">
            <a:off x="5283949" y="3310101"/>
            <a:ext cx="3312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281" name="Google Shape;281;g344eaf56fbf_0_5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10049" y="3433850"/>
            <a:ext cx="5261827" cy="3202325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g344eaf56fbf_0_59"/>
          <p:cNvSpPr/>
          <p:nvPr/>
        </p:nvSpPr>
        <p:spPr>
          <a:xfrm>
            <a:off x="8611850" y="5352900"/>
            <a:ext cx="458400" cy="1869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</a:endParaRPr>
          </a:p>
        </p:txBody>
      </p:sp>
      <p:sp>
        <p:nvSpPr>
          <p:cNvPr id="283" name="Google Shape;283;g344eaf56fbf_0_59"/>
          <p:cNvSpPr txBox="1"/>
          <p:nvPr/>
        </p:nvSpPr>
        <p:spPr>
          <a:xfrm>
            <a:off x="6116475" y="4077650"/>
            <a:ext cx="850200" cy="2754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50">
                <a:solidFill>
                  <a:schemeClr val="dk1"/>
                </a:solidFill>
              </a:rPr>
              <a:t>Promotion</a:t>
            </a:r>
            <a:endParaRPr sz="950">
              <a:solidFill>
                <a:schemeClr val="dk1"/>
              </a:solidFill>
            </a:endParaRPr>
          </a:p>
        </p:txBody>
      </p:sp>
      <p:cxnSp>
        <p:nvCxnSpPr>
          <p:cNvPr id="284" name="Google Shape;284;g344eaf56fbf_0_59"/>
          <p:cNvCxnSpPr>
            <a:stCxn id="283" idx="3"/>
            <a:endCxn id="282" idx="1"/>
          </p:cNvCxnSpPr>
          <p:nvPr/>
        </p:nvCxnSpPr>
        <p:spPr>
          <a:xfrm>
            <a:off x="6966675" y="4215350"/>
            <a:ext cx="1645200" cy="1230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Resolve permission problem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in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Google Drive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/>
          </a:p>
        </p:txBody>
      </p:sp>
      <p:pic>
        <p:nvPicPr>
          <p:cNvPr id="213" name="Google Shape;213;g344eaf56fbf_0_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050" y="931100"/>
            <a:ext cx="11280951" cy="58108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ACD0F9C-7301-0C32-91A0-349957E5D075}"/>
              </a:ext>
            </a:extLst>
          </p:cNvPr>
          <p:cNvSpPr/>
          <p:nvPr/>
        </p:nvSpPr>
        <p:spPr>
          <a:xfrm>
            <a:off x="479050" y="931100"/>
            <a:ext cx="2308486" cy="74201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c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1526D-7C36-76F9-0E99-D01A579EC4FA}"/>
              </a:ext>
            </a:extLst>
          </p:cNvPr>
          <p:cNvCxnSpPr>
            <a:cxnSpLocks/>
          </p:cNvCxnSpPr>
          <p:nvPr/>
        </p:nvCxnSpPr>
        <p:spPr>
          <a:xfrm>
            <a:off x="771993" y="1673113"/>
            <a:ext cx="794479" cy="1527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6" y="1566472"/>
            <a:ext cx="369355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C7CEEC-2894-4B55-2755-E9B28EDC2884}"/>
              </a:ext>
            </a:extLst>
          </p:cNvPr>
          <p:cNvSpPr txBox="1"/>
          <p:nvPr/>
        </p:nvSpPr>
        <p:spPr>
          <a:xfrm>
            <a:off x="5984111" y="2864734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0B9BEA-4013-3680-6F36-93D9C1EB2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8519" y="70297"/>
            <a:ext cx="5667769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2E823B-27CA-1FD8-C346-7311B08F25F7}"/>
              </a:ext>
            </a:extLst>
          </p:cNvPr>
          <p:cNvSpPr txBox="1"/>
          <p:nvPr/>
        </p:nvSpPr>
        <p:spPr>
          <a:xfrm>
            <a:off x="1814153" y="2497211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tx1"/>
                </a:solidFill>
              </a:rPr>
              <a:t>SettingKey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93FDD4-73F8-0C89-F2EF-28278602E2D2}"/>
              </a:ext>
            </a:extLst>
          </p:cNvPr>
          <p:cNvSpPr txBox="1"/>
          <p:nvPr/>
        </p:nvSpPr>
        <p:spPr>
          <a:xfrm>
            <a:off x="1316141" y="4240845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SettingValue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1E871EF-6032-D160-5D19-7CE5785B5042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4121071" y="2698229"/>
            <a:ext cx="1170928" cy="52982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B1372FE-4577-E11D-E415-85ACBFED671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3623059" y="4494845"/>
            <a:ext cx="1668940" cy="654276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BC1949B-B0AC-74EC-132A-4011E2504146}"/>
              </a:ext>
            </a:extLst>
          </p:cNvPr>
          <p:cNvSpPr/>
          <p:nvPr/>
        </p:nvSpPr>
        <p:spPr>
          <a:xfrm>
            <a:off x="5224072" y="2323475"/>
            <a:ext cx="2345961" cy="74950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7907E2-104C-42CA-AC15-690C68B8C0E0}"/>
              </a:ext>
            </a:extLst>
          </p:cNvPr>
          <p:cNvSpPr/>
          <p:nvPr/>
        </p:nvSpPr>
        <p:spPr>
          <a:xfrm>
            <a:off x="5291999" y="4494846"/>
            <a:ext cx="2345961" cy="1548690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F09A5893-434F-36F5-A120-DD0B1708E5A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</TotalTime>
  <Words>3052</Words>
  <Application>Microsoft Office PowerPoint</Application>
  <PresentationFormat>Widescreen</PresentationFormat>
  <Paragraphs>519</Paragraphs>
  <Slides>42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7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Agenda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Share</vt:lpstr>
      <vt:lpstr>Table for Share fea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Add column path to table folder</vt:lpstr>
      <vt:lpstr>PowerPoint Presentation</vt:lpstr>
      <vt:lpstr>WHAT IS BM25 ?</vt:lpstr>
      <vt:lpstr>PowerPoint Presentation</vt:lpstr>
      <vt:lpstr>PowerPoint Presentation</vt:lpstr>
      <vt:lpstr>HOW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5</cp:revision>
  <dcterms:created xsi:type="dcterms:W3CDTF">2025-07-10T03:51:23Z</dcterms:created>
  <dcterms:modified xsi:type="dcterms:W3CDTF">2025-08-06T03:21:47Z</dcterms:modified>
</cp:coreProperties>
</file>